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322394499065609</c:v>
                </c:pt>
                <c:pt idx="1">
                  <c:v>31.514826489056489</c:v>
                </c:pt>
                <c:pt idx="2">
                  <c:v>33.379666553995008</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3.475504000000001</c:v>
                </c:pt>
                <c:pt idx="1">
                  <c:v>4.7601709999999997</c:v>
                </c:pt>
                <c:pt idx="2">
                  <c:v>4.2388330000000067</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3.79789849906561</c:v>
                </c:pt>
                <c:pt idx="1">
                  <c:v>36.274997489056489</c:v>
                </c:pt>
                <c:pt idx="2">
                  <c:v>37.618499553995015</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2.364991544242187</c:v>
                </c:pt>
                <c:pt idx="1">
                  <c:v>104.9243380524595</c:v>
                </c:pt>
                <c:pt idx="2">
                  <c:v>106.8637047062312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5744320245349259</c:v>
                </c:pt>
                <c:pt idx="1">
                  <c:v>110.37243553923525</c:v>
                </c:pt>
                <c:pt idx="2">
                  <c:v>108.1208190308932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5.939423568777116</c:v>
                </c:pt>
                <c:pt idx="1">
                  <c:v>215.29677359169477</c:v>
                </c:pt>
                <c:pt idx="2">
                  <c:v>214.9845237371245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106.86370470623129</c:v>
                </c:pt>
                <c:pt idx="2">
                  <c:v>135.95610540964444</c:v>
                </c:pt>
                <c:pt idx="3">
                  <c:v>101.68797750177319</c:v>
                </c:pt>
                <c:pt idx="4">
                  <c:v>126.16497646799242</c:v>
                </c:pt>
                <c:pt idx="5">
                  <c:v>160.02744485648481</c:v>
                </c:pt>
                <c:pt idx="7">
                  <c:v>130.95912605897371</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108.12081903089327</c:v>
                </c:pt>
                <c:pt idx="2">
                  <c:v>100.91416926396548</c:v>
                </c:pt>
                <c:pt idx="3">
                  <c:v>122.03225031048436</c:v>
                </c:pt>
                <c:pt idx="4">
                  <c:v>214.48822750792186</c:v>
                </c:pt>
                <c:pt idx="5">
                  <c:v>354.06111353625141</c:v>
                </c:pt>
                <c:pt idx="7">
                  <c:v>197.87394015465577</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214.98452373712456</c:v>
                </c:pt>
                <c:pt idx="2">
                  <c:v>236.87027467360991</c:v>
                </c:pt>
                <c:pt idx="3">
                  <c:v>223.72022781225752</c:v>
                </c:pt>
                <c:pt idx="4">
                  <c:v>340.65320397591432</c:v>
                </c:pt>
                <c:pt idx="5">
                  <c:v>514.08855839273622</c:v>
                </c:pt>
                <c:pt idx="7">
                  <c:v>328.83306621362954</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3774748554578657</c:v>
                </c:pt>
                <c:pt idx="2">
                  <c:v>2.6406079579042925</c:v>
                </c:pt>
                <c:pt idx="3">
                  <c:v>2.6434222281258273</c:v>
                </c:pt>
                <c:pt idx="4">
                  <c:v>2.7173523655663199</c:v>
                </c:pt>
                <c:pt idx="6">
                  <c:v>5.3162653616402906</c:v>
                </c:pt>
                <c:pt idx="7">
                  <c:v>5.3162653616402906</c:v>
                </c:pt>
                <c:pt idx="8">
                  <c:v>5.324710540075678</c:v>
                </c:pt>
                <c:pt idx="9">
                  <c:v>5.386222257709918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888968554578657</c:v>
                </c:pt>
                <c:pt idx="5">
                  <c:v>2.6287743655663203</c:v>
                </c:pt>
                <c:pt idx="10">
                  <c:v>2.677363257709918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2631331024464269</c:v>
                </c:pt>
                <c:pt idx="2">
                  <c:v>2.8142702215349365E-3</c:v>
                </c:pt>
                <c:pt idx="3">
                  <c:v>7.3930137440492746E-2</c:v>
                </c:pt>
                <c:pt idx="7">
                  <c:v>8.4451784353878068E-3</c:v>
                </c:pt>
                <c:pt idx="8">
                  <c:v>0.1179237176342400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7.778000392602965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8.8578000000000004E-2</c:v>
                </c:pt>
                <c:pt idx="5">
                  <c:v>2.7652709999999998</c:v>
                </c:pt>
                <c:pt idx="10">
                  <c:v>2.708858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6766929999999998</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5.6411999999999907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3774748554578657</c:v>
                </c:pt>
                <c:pt idx="5">
                  <c:v>5.3940453655663205</c:v>
                </c:pt>
                <c:pt idx="10">
                  <c:v>5.386222257709918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Re-integratie klassiek</c:v>
                </c:pt>
                <c:pt idx="4">
                  <c:v>Eenpersoonshuishoudens</c:v>
                </c:pt>
                <c:pt idx="5">
                  <c:v>Klantenpotentieel regionaal</c:v>
                </c:pt>
                <c:pt idx="6">
                  <c:v>Omgevingsadressendichtheid</c:v>
                </c:pt>
                <c:pt idx="7">
                  <c:v>Loonkostensubsidie</c:v>
                </c:pt>
                <c:pt idx="10">
                  <c:v>Overig</c:v>
                </c:pt>
              </c:strCache>
            </c:strRef>
          </c:cat>
          <c:val>
            <c:numRef>
              <c:f>Sheet1!$B$2:$B$12</c:f>
              <c:numCache>
                <c:formatCode>General</c:formatCode>
                <c:ptCount val="11"/>
                <c:pt idx="0">
                  <c:v>1.006016186239999</c:v>
                </c:pt>
                <c:pt idx="1">
                  <c:v>0.78144467481600011</c:v>
                </c:pt>
                <c:pt idx="2">
                  <c:v>0.30936478768000009</c:v>
                </c:pt>
                <c:pt idx="3">
                  <c:v>0.27483535725360003</c:v>
                </c:pt>
                <c:pt idx="4">
                  <c:v>0.16383521700000003</c:v>
                </c:pt>
                <c:pt idx="5">
                  <c:v>7.9987278800000006E-2</c:v>
                </c:pt>
                <c:pt idx="6">
                  <c:v>3.9828450280319998E-2</c:v>
                </c:pt>
                <c:pt idx="7">
                  <c:v>2.205130564000000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2.5996739999999998</c:v>
                </c:pt>
                <c:pt idx="1">
                  <c:v>7.9578999999999997E-2</c:v>
                </c:pt>
                <c:pt idx="2">
                  <c:v>2.9606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4298073177493333</c:v>
                </c:pt>
                <c:pt idx="1">
                  <c:v>0.56458233058125984</c:v>
                </c:pt>
                <c:pt idx="2">
                  <c:v>0.6158310115727465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8847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4298073177493333</c:v>
                </c:pt>
                <c:pt idx="1">
                  <c:v>0.56458233058125984</c:v>
                </c:pt>
                <c:pt idx="2">
                  <c:v>0.6446780115727465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911171130096982</c:v>
                </c:pt>
                <c:pt idx="1">
                  <c:v>22.534618447404</c:v>
                </c:pt>
                <c:pt idx="2">
                  <c:v>24.58014734464542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51392991139139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911171130096982</c:v>
                </c:pt>
                <c:pt idx="1">
                  <c:v>22.534618447404</c:v>
                </c:pt>
                <c:pt idx="2">
                  <c:v>25.73154033578456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24.580147344645429</c:v>
                </c:pt>
                <c:pt idx="2">
                  <c:v>29.303160013206</c:v>
                </c:pt>
                <c:pt idx="3">
                  <c:v>25.055662813674669</c:v>
                </c:pt>
                <c:pt idx="4">
                  <c:v>28.951192538967017</c:v>
                </c:pt>
                <c:pt idx="5">
                  <c:v>27.838362167197111</c:v>
                </c:pt>
                <c:pt idx="7">
                  <c:v>27.787094383261199</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1.1513929911391394</c:v>
                </c:pt>
                <c:pt idx="2">
                  <c:v>1.1637896587548948</c:v>
                </c:pt>
                <c:pt idx="3">
                  <c:v>1.1652978646688834</c:v>
                </c:pt>
                <c:pt idx="4">
                  <c:v>1.1631302394609122</c:v>
                </c:pt>
                <c:pt idx="5">
                  <c:v>1.1402833445771658</c:v>
                </c:pt>
                <c:pt idx="7">
                  <c:v>1.1581252768654642</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25.731540335784569</c:v>
                </c:pt>
                <c:pt idx="2">
                  <c:v>30.46694967196089</c:v>
                </c:pt>
                <c:pt idx="3">
                  <c:v>26.220960678343552</c:v>
                </c:pt>
                <c:pt idx="4">
                  <c:v>30.11432277842793</c:v>
                </c:pt>
                <c:pt idx="5">
                  <c:v>28.978645511774282</c:v>
                </c:pt>
                <c:pt idx="7">
                  <c:v>28.945219660126661</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53128712311917203</c:v>
                </c:pt>
                <c:pt idx="2">
                  <c:v>0.53128712311917203</c:v>
                </c:pt>
                <c:pt idx="3">
                  <c:v>0.53617270696015007</c:v>
                </c:pt>
                <c:pt idx="4">
                  <c:v>0.56458233058125984</c:v>
                </c:pt>
                <c:pt idx="6">
                  <c:v>0.56198963678496672</c:v>
                </c:pt>
                <c:pt idx="7">
                  <c:v>0.56198963678496672</c:v>
                </c:pt>
                <c:pt idx="8">
                  <c:v>0.5877364957525969</c:v>
                </c:pt>
                <c:pt idx="9">
                  <c:v>0.6158310115727465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4298073177493333</c:v>
                </c:pt>
                <c:pt idx="5">
                  <c:v>0.56458233058125984</c:v>
                </c:pt>
                <c:pt idx="10">
                  <c:v>0.6158310115727465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8855838409780665E-3</c:v>
                </c:pt>
                <c:pt idx="3">
                  <c:v>2.8409623621109735E-2</c:v>
                </c:pt>
                <c:pt idx="7">
                  <c:v>2.5746858967630182E-2</c:v>
                </c:pt>
                <c:pt idx="8">
                  <c:v>2.809451582014969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1693608655761297E-2</c:v>
                </c:pt>
                <c:pt idx="6">
                  <c:v>2.592693796293154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8847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8847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4298073177493333</c:v>
                </c:pt>
                <c:pt idx="5">
                  <c:v>0.56458233058125984</c:v>
                </c:pt>
                <c:pt idx="10">
                  <c:v>0.6446780115727465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Huishoudens met laag inkomen (drempel)</c:v>
                </c:pt>
                <c:pt idx="1">
                  <c:v>Inwoners</c:v>
                </c:pt>
                <c:pt idx="2">
                  <c:v>Jongeren</c:v>
                </c:pt>
                <c:pt idx="3">
                  <c:v>Eenouderhuishoudens</c:v>
                </c:pt>
                <c:pt idx="4">
                  <c:v>Huishoudens</c:v>
                </c:pt>
                <c:pt idx="5">
                  <c:v>Omgevingsadressendichtheid</c:v>
                </c:pt>
                <c:pt idx="6">
                  <c:v>Bijstandsontvangers</c:v>
                </c:pt>
                <c:pt idx="7">
                  <c:v>Minderheden</c:v>
                </c:pt>
                <c:pt idx="8">
                  <c:v>Klantenpotentieel lokaal</c:v>
                </c:pt>
                <c:pt idx="9">
                  <c:v>Uitkeringsontvangers</c:v>
                </c:pt>
                <c:pt idx="10">
                  <c:v>Overig</c:v>
                </c:pt>
              </c:strCache>
            </c:strRef>
          </c:cat>
          <c:val>
            <c:numRef>
              <c:f>Sheet1!$B$2:$B$12</c:f>
              <c:numCache>
                <c:formatCode>General</c:formatCode>
                <c:ptCount val="11"/>
                <c:pt idx="0">
                  <c:v>0.12640515409600001</c:v>
                </c:pt>
                <c:pt idx="1">
                  <c:v>0.11994953256000002</c:v>
                </c:pt>
                <c:pt idx="2">
                  <c:v>0.11624152956</c:v>
                </c:pt>
                <c:pt idx="3">
                  <c:v>4.4314589279999997E-2</c:v>
                </c:pt>
                <c:pt idx="4">
                  <c:v>3.5567812800000008E-2</c:v>
                </c:pt>
                <c:pt idx="5">
                  <c:v>2.8396209922080001E-2</c:v>
                </c:pt>
                <c:pt idx="6">
                  <c:v>2.7478173493333303E-2</c:v>
                </c:pt>
                <c:pt idx="7">
                  <c:v>2.61378546E-2</c:v>
                </c:pt>
                <c:pt idx="8">
                  <c:v>2.0238659999999999E-2</c:v>
                </c:pt>
                <c:pt idx="9">
                  <c:v>1.6141493333333295E-2</c:v>
                </c:pt>
                <c:pt idx="10">
                  <c:v>5.496000192799999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20.07967794139086</c:v>
                </c:pt>
                <c:pt idx="1">
                  <c:v>1257.8760473000914</c:v>
                </c:pt>
                <c:pt idx="2">
                  <c:v>1332.3088749898225</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43.78370525806065</c:v>
                </c:pt>
                <c:pt idx="1">
                  <c:v>189.99644767302627</c:v>
                </c:pt>
                <c:pt idx="2">
                  <c:v>169.18787419174609</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63.8633831994516</c:v>
                </c:pt>
                <c:pt idx="1">
                  <c:v>1447.8724949731177</c:v>
                </c:pt>
                <c:pt idx="2">
                  <c:v>1501.4967491815685</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8847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83791639531146667</c:v>
                </c:pt>
                <c:pt idx="1">
                  <c:v>4.3795726619918636</c:v>
                </c:pt>
                <c:pt idx="2">
                  <c:v>4.469149624243894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4823139999999999</c:v>
                </c:pt>
                <c:pt idx="2">
                  <c:v>1.16637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83791639531146667</c:v>
                </c:pt>
                <c:pt idx="1">
                  <c:v>5.8618866619918633</c:v>
                </c:pt>
                <c:pt idx="2">
                  <c:v>5.635526624243894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5.55340358505481</c:v>
                </c:pt>
                <c:pt idx="1">
                  <c:v>1052.5288781523345</c:v>
                </c:pt>
                <c:pt idx="2">
                  <c:v>1074.056626831024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356.23984619081949</c:v>
                </c:pt>
                <c:pt idx="2">
                  <c:v>280.3117039173275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75.55340358505481</c:v>
                </c:pt>
                <c:pt idx="1">
                  <c:v>1408.768724343154</c:v>
                </c:pt>
                <c:pt idx="2">
                  <c:v>1354.368330748352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1074.0566268310249</c:v>
                </c:pt>
                <c:pt idx="2">
                  <c:v>1438.1648378284292</c:v>
                </c:pt>
                <c:pt idx="3">
                  <c:v>1405.6780858131551</c:v>
                </c:pt>
                <c:pt idx="4">
                  <c:v>1380.1090969037664</c:v>
                </c:pt>
                <c:pt idx="5">
                  <c:v>1512.0290915923151</c:v>
                </c:pt>
                <c:pt idx="7">
                  <c:v>1433.9952780344163</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280.31170391732758</c:v>
                </c:pt>
                <c:pt idx="2">
                  <c:v>151.06085526315789</c:v>
                </c:pt>
                <c:pt idx="3">
                  <c:v>170.38987473903967</c:v>
                </c:pt>
                <c:pt idx="4">
                  <c:v>149.74951789157916</c:v>
                </c:pt>
                <c:pt idx="5">
                  <c:v>375.78385711055847</c:v>
                </c:pt>
                <c:pt idx="7">
                  <c:v>211.7460262510838</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1354.3683307483525</c:v>
                </c:pt>
                <c:pt idx="2">
                  <c:v>1589.2256930915871</c:v>
                </c:pt>
                <c:pt idx="3">
                  <c:v>1576.0679605521948</c:v>
                </c:pt>
                <c:pt idx="4">
                  <c:v>1529.8586147953456</c:v>
                </c:pt>
                <c:pt idx="5">
                  <c:v>1887.8129487028734</c:v>
                </c:pt>
                <c:pt idx="7">
                  <c:v>1645.7413042855003</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79319387482769776</c:v>
                </c:pt>
                <c:pt idx="2">
                  <c:v>0.79319387482769776</c:v>
                </c:pt>
                <c:pt idx="3">
                  <c:v>4.355209976180114</c:v>
                </c:pt>
                <c:pt idx="4">
                  <c:v>4.3795726619918636</c:v>
                </c:pt>
                <c:pt idx="6">
                  <c:v>5.8371416102912335</c:v>
                </c:pt>
                <c:pt idx="7">
                  <c:v>5.7492533859847983</c:v>
                </c:pt>
                <c:pt idx="8">
                  <c:v>5.7492533859847983</c:v>
                </c:pt>
                <c:pt idx="9">
                  <c:v>5.635526624243894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83791639531146667</c:v>
                </c:pt>
                <c:pt idx="5">
                  <c:v>4.3795726619918636</c:v>
                </c:pt>
                <c:pt idx="10">
                  <c:v>4.469149624243894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5620161013524165</c:v>
                </c:pt>
                <c:pt idx="3">
                  <c:v>2.4362685811749524E-2</c:v>
                </c:pt>
                <c:pt idx="8">
                  <c:v>0.2022102382590960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4722520483768922E-2</c:v>
                </c:pt>
                <c:pt idx="6">
                  <c:v>2.4745051700630221E-2</c:v>
                </c:pt>
                <c:pt idx="7">
                  <c:v>8.7888224306434753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1.4823139999999999</c:v>
                </c:pt>
                <c:pt idx="10">
                  <c:v>1.166377</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482313999999999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3159369999999999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83791639531146667</c:v>
                </c:pt>
                <c:pt idx="5">
                  <c:v>5.8618866619918633</c:v>
                </c:pt>
                <c:pt idx="10">
                  <c:v>5.635526624243894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oudens)</c:v>
                </c:pt>
                <c:pt idx="2">
                  <c:v>Uitkeringsont. min. bijstandsont.</c:v>
                </c:pt>
                <c:pt idx="3">
                  <c:v>Gem. gestand. inkomen (huish. kinderen)</c:v>
                </c:pt>
                <c:pt idx="4">
                  <c:v>Ouders lang psychisch medicijngebruik</c:v>
                </c:pt>
                <c:pt idx="5">
                  <c:v>Eenouderhuishoudens</c:v>
                </c:pt>
                <c:pt idx="6">
                  <c:v>Eenouderhuishoudens 2 of meer kinderen</c:v>
                </c:pt>
                <c:pt idx="7">
                  <c:v>BO leerlingen, leerlingengewicht 1,2</c:v>
                </c:pt>
                <c:pt idx="8">
                  <c:v>Huishoudens laag inkomen (drempel)</c:v>
                </c:pt>
                <c:pt idx="9">
                  <c:v>Bijstandsont. eenouderhuishoudens</c:v>
                </c:pt>
                <c:pt idx="10">
                  <c:v>Overig</c:v>
                </c:pt>
              </c:strCache>
            </c:strRef>
          </c:cat>
          <c:val>
            <c:numRef>
              <c:f>Sheet1!$B$2:$B$12</c:f>
              <c:numCache>
                <c:formatCode>General</c:formatCode>
                <c:ptCount val="11"/>
                <c:pt idx="0">
                  <c:v>3.4210425459600002</c:v>
                </c:pt>
                <c:pt idx="1">
                  <c:v>-1.5287480375439999</c:v>
                </c:pt>
                <c:pt idx="2">
                  <c:v>1.4070688257600001</c:v>
                </c:pt>
                <c:pt idx="3">
                  <c:v>-1.2115307716512</c:v>
                </c:pt>
                <c:pt idx="4">
                  <c:v>0.79820516929296004</c:v>
                </c:pt>
                <c:pt idx="5">
                  <c:v>0.70328971128000017</c:v>
                </c:pt>
                <c:pt idx="6">
                  <c:v>0.45799396032</c:v>
                </c:pt>
                <c:pt idx="7">
                  <c:v>-0.26969354828000003</c:v>
                </c:pt>
                <c:pt idx="8">
                  <c:v>0.23755304414400005</c:v>
                </c:pt>
                <c:pt idx="9">
                  <c:v>0.21300049160000009</c:v>
                </c:pt>
                <c:pt idx="10">
                  <c:v>0.24096823336213546</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Voogdij 18 plus</c:v>
                </c:pt>
                <c:pt idx="1">
                  <c:v>Suppletie uitkering IUSD</c:v>
                </c:pt>
                <c:pt idx="2">
                  <c:v>Transformatiefonds SD Jeugd</c:v>
                </c:pt>
              </c:strCache>
            </c:strRef>
          </c:cat>
          <c:val>
            <c:numRef>
              <c:f>Sheet1!$B$2:$B$12</c:f>
              <c:numCache>
                <c:formatCode>General</c:formatCode>
                <c:ptCount val="11"/>
                <c:pt idx="0">
                  <c:v>1.1515880000000001</c:v>
                </c:pt>
                <c:pt idx="1">
                  <c:v>1.4789E-2</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0793619838877335</c:v>
                </c:pt>
                <c:pt idx="1">
                  <c:v>9.6259109585955063</c:v>
                </c:pt>
                <c:pt idx="2">
                  <c:v>10.21765419577167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1509040000000001</c:v>
                </c:pt>
                <c:pt idx="1">
                  <c:v>-3.9690000000000003E-3</c:v>
                </c:pt>
                <c:pt idx="2">
                  <c:v>2.1329999999999998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2302659838877332</c:v>
                </c:pt>
                <c:pt idx="1">
                  <c:v>9.6219419585955066</c:v>
                </c:pt>
                <c:pt idx="2">
                  <c:v>10.2389841957716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4.2630234408512</c:v>
                </c:pt>
                <c:pt idx="1">
                  <c:v>384.20655219108755</c:v>
                </c:pt>
                <c:pt idx="2">
                  <c:v>407.825265257910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6.796497316492477</c:v>
                </c:pt>
                <c:pt idx="1">
                  <c:v>-0.15841781751416942</c:v>
                </c:pt>
                <c:pt idx="2">
                  <c:v>0.851361060110162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1.05952075734365</c:v>
                </c:pt>
                <c:pt idx="1">
                  <c:v>384.04813437357336</c:v>
                </c:pt>
                <c:pt idx="2">
                  <c:v>408.6766263180202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407.82526525791008</c:v>
                </c:pt>
                <c:pt idx="2">
                  <c:v>430.32709769348992</c:v>
                </c:pt>
                <c:pt idx="3">
                  <c:v>450.65127607084082</c:v>
                </c:pt>
                <c:pt idx="4">
                  <c:v>408.28640843278038</c:v>
                </c:pt>
                <c:pt idx="5">
                  <c:v>510.67589879533313</c:v>
                </c:pt>
                <c:pt idx="7">
                  <c:v>449.98517024811105</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0.8513610601101621</c:v>
                </c:pt>
                <c:pt idx="2">
                  <c:v>1.231119635578998</c:v>
                </c:pt>
                <c:pt idx="3">
                  <c:v>0.75958495252594049</c:v>
                </c:pt>
                <c:pt idx="4">
                  <c:v>1.1407484657655129</c:v>
                </c:pt>
                <c:pt idx="5">
                  <c:v>1.1286162149291639</c:v>
                </c:pt>
                <c:pt idx="7">
                  <c:v>1.0650173171999038</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408.67662631802023</c:v>
                </c:pt>
                <c:pt idx="2">
                  <c:v>431.5582173290689</c:v>
                </c:pt>
                <c:pt idx="3">
                  <c:v>451.41086102336681</c:v>
                </c:pt>
                <c:pt idx="4">
                  <c:v>409.42715689854589</c:v>
                </c:pt>
                <c:pt idx="5">
                  <c:v>511.80451501026226</c:v>
                </c:pt>
                <c:pt idx="7">
                  <c:v>451.05018756531098</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79903427367081659</c:v>
                </c:pt>
                <c:pt idx="1">
                  <c:v>0.80970065831488647</c:v>
                </c:pt>
                <c:pt idx="2">
                  <c:v>0.80458281353975358</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79903427367081659</c:v>
                </c:pt>
                <c:pt idx="1">
                  <c:v>0.80970065831488647</c:v>
                </c:pt>
                <c:pt idx="2">
                  <c:v>0.80458281353975358</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2302659838877332</c:v>
                </c:pt>
                <c:pt idx="2">
                  <c:v>5.4372273633682768</c:v>
                </c:pt>
                <c:pt idx="3">
                  <c:v>11.362721762602011</c:v>
                </c:pt>
                <c:pt idx="4">
                  <c:v>9.6219419585955031</c:v>
                </c:pt>
                <c:pt idx="6">
                  <c:v>9.6219419585955048</c:v>
                </c:pt>
                <c:pt idx="7">
                  <c:v>9.7240486318909127</c:v>
                </c:pt>
                <c:pt idx="8">
                  <c:v>9.7392711334897388</c:v>
                </c:pt>
                <c:pt idx="9">
                  <c:v>10.21368519577167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0793619838877335</c:v>
                </c:pt>
                <c:pt idx="5">
                  <c:v>9.6259109585955045</c:v>
                </c:pt>
                <c:pt idx="10">
                  <c:v>10.21765419577167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20696137948054386</c:v>
                </c:pt>
                <c:pt idx="2">
                  <c:v>5.9254943992337346</c:v>
                </c:pt>
                <c:pt idx="3">
                  <c:v>0.41409319599349353</c:v>
                </c:pt>
                <c:pt idx="6">
                  <c:v>0.10210667329540873</c:v>
                </c:pt>
                <c:pt idx="7">
                  <c:v>1.5222501598825287E-2</c:v>
                </c:pt>
                <c:pt idx="8">
                  <c:v>0.4744140622819389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1509040000000001</c:v>
                </c:pt>
                <c:pt idx="5">
                  <c:v>-3.9690000000001113E-3</c:v>
                </c:pt>
                <c:pt idx="10">
                  <c:v>2.132999999999988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5298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2.1548730000000003</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2302659838877332</c:v>
                </c:pt>
                <c:pt idx="5">
                  <c:v>9.6219419585955048</c:v>
                </c:pt>
                <c:pt idx="10">
                  <c:v>10.23898419577167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Huishoudens met laag inkomen (drempel)</c:v>
                </c:pt>
                <c:pt idx="2">
                  <c:v>Inwoners</c:v>
                </c:pt>
                <c:pt idx="3">
                  <c:v>Ouderen</c:v>
                </c:pt>
                <c:pt idx="4">
                  <c:v>Gem. gestandaardiseerd inkomen 75 t/m 84</c:v>
                </c:pt>
                <c:pt idx="5">
                  <c:v>Huishoudens</c:v>
                </c:pt>
                <c:pt idx="6">
                  <c:v>Klantenpotentieel lokaal</c:v>
                </c:pt>
                <c:pt idx="7">
                  <c:v>Uitkeringsont. min bijstandsont.</c:v>
                </c:pt>
                <c:pt idx="8">
                  <c:v>Wajong</c:v>
                </c:pt>
                <c:pt idx="9">
                  <c:v>Gem. gestandaardiseerd inkomen 85+</c:v>
                </c:pt>
                <c:pt idx="10">
                  <c:v>Overig</c:v>
                </c:pt>
              </c:strCache>
            </c:strRef>
          </c:cat>
          <c:val>
            <c:numRef>
              <c:f>Sheet1!$B$2:$B$12</c:f>
              <c:numCache>
                <c:formatCode>General</c:formatCode>
                <c:ptCount val="11"/>
                <c:pt idx="0">
                  <c:v>2.9719904647856259</c:v>
                </c:pt>
                <c:pt idx="1">
                  <c:v>1.5190779880640002</c:v>
                </c:pt>
                <c:pt idx="2">
                  <c:v>1.3711402796000003</c:v>
                </c:pt>
                <c:pt idx="3">
                  <c:v>0.82696480152000007</c:v>
                </c:pt>
                <c:pt idx="4">
                  <c:v>0.37570366175628006</c:v>
                </c:pt>
                <c:pt idx="5">
                  <c:v>0.34678617480000001</c:v>
                </c:pt>
                <c:pt idx="6">
                  <c:v>0.32344376999999996</c:v>
                </c:pt>
                <c:pt idx="7">
                  <c:v>0.31570046351999997</c:v>
                </c:pt>
                <c:pt idx="8">
                  <c:v>0.29042984880000006</c:v>
                </c:pt>
                <c:pt idx="9">
                  <c:v>0.23222746861314</c:v>
                </c:pt>
                <c:pt idx="10">
                  <c:v>1.6441892743126321</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2.1329999999999998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817628387832005</c:v>
                </c:pt>
                <c:pt idx="1">
                  <c:v>2.0390454213843801</c:v>
                </c:pt>
                <c:pt idx="2">
                  <c:v>2.15555572378847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8109999999999998E-2</c:v>
                </c:pt>
                <c:pt idx="1">
                  <c:v>3.8109999999999998E-2</c:v>
                </c:pt>
                <c:pt idx="2">
                  <c:v>3.8109999999999998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198728387832006</c:v>
                </c:pt>
                <c:pt idx="1">
                  <c:v>2.0771554213843801</c:v>
                </c:pt>
                <c:pt idx="2">
                  <c:v>2.1936657237884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15.20277368179347</c:v>
                </c:pt>
                <c:pt idx="1">
                  <c:v>490.03735193087721</c:v>
                </c:pt>
                <c:pt idx="2">
                  <c:v>518.0379052603892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9844961240310077</c:v>
                </c:pt>
                <c:pt idx="1">
                  <c:v>9.1588560442201388</c:v>
                </c:pt>
                <c:pt idx="2">
                  <c:v>9.158856044220138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23.18726980582454</c:v>
                </c:pt>
                <c:pt idx="1">
                  <c:v>499.19620797509737</c:v>
                </c:pt>
                <c:pt idx="2">
                  <c:v>527.196761304609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518.03790526038927</c:v>
                </c:pt>
                <c:pt idx="2">
                  <c:v>468.74150824279246</c:v>
                </c:pt>
                <c:pt idx="3">
                  <c:v>576.58048197933203</c:v>
                </c:pt>
                <c:pt idx="4">
                  <c:v>510.0122318903621</c:v>
                </c:pt>
                <c:pt idx="5">
                  <c:v>636.18565335455571</c:v>
                </c:pt>
                <c:pt idx="7">
                  <c:v>547.87996886676058</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9.1588560442201388</c:v>
                </c:pt>
                <c:pt idx="2">
                  <c:v>6.9736842105263159</c:v>
                </c:pt>
                <c:pt idx="3">
                  <c:v>8.426931106471816</c:v>
                </c:pt>
                <c:pt idx="4">
                  <c:v>8.833726162416971</c:v>
                </c:pt>
                <c:pt idx="5">
                  <c:v>13.76893511191499</c:v>
                </c:pt>
                <c:pt idx="7">
                  <c:v>9.500819147832523</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527.19676130460937</c:v>
                </c:pt>
                <c:pt idx="2">
                  <c:v>475.71519245331876</c:v>
                </c:pt>
                <c:pt idx="3">
                  <c:v>585.00741308580382</c:v>
                </c:pt>
                <c:pt idx="4">
                  <c:v>518.84595805277911</c:v>
                </c:pt>
                <c:pt idx="5">
                  <c:v>649.95458846647068</c:v>
                </c:pt>
                <c:pt idx="7">
                  <c:v>557.38078801459312</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209559599493564</c:v>
                </c:pt>
                <c:pt idx="2">
                  <c:v>1.9209559599493564</c:v>
                </c:pt>
                <c:pt idx="3">
                  <c:v>2.0300385386502255</c:v>
                </c:pt>
                <c:pt idx="4">
                  <c:v>2.0771554213843801</c:v>
                </c:pt>
                <c:pt idx="6">
                  <c:v>2.0771554213843801</c:v>
                </c:pt>
                <c:pt idx="7">
                  <c:v>2.093487170692089</c:v>
                </c:pt>
                <c:pt idx="8">
                  <c:v>2.093487170692089</c:v>
                </c:pt>
                <c:pt idx="9">
                  <c:v>2.1936657237884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817628387832005</c:v>
                </c:pt>
                <c:pt idx="5">
                  <c:v>2.0390454213843801</c:v>
                </c:pt>
                <c:pt idx="10">
                  <c:v>2.15555572378847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0908257870086897</c:v>
                </c:pt>
                <c:pt idx="3">
                  <c:v>4.7116882734154819E-2</c:v>
                </c:pt>
                <c:pt idx="6">
                  <c:v>1.6331749307708785E-2</c:v>
                </c:pt>
                <c:pt idx="8">
                  <c:v>0.1001785530963910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9.891687883384423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8109999999999998E-2</c:v>
                </c:pt>
                <c:pt idx="5">
                  <c:v>3.8109999999999998E-2</c:v>
                </c:pt>
                <c:pt idx="10">
                  <c:v>3.8109999999999998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0198728387832006</c:v>
                </c:pt>
                <c:pt idx="5">
                  <c:v>2.0771554213843801</c:v>
                </c:pt>
                <c:pt idx="10">
                  <c:v>2.1936657237884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Land</c:v>
                </c:pt>
                <c:pt idx="3">
                  <c:v>Huishoudens laag inkomen (drempel)</c:v>
                </c:pt>
                <c:pt idx="4">
                  <c:v>Extra groei leerlingen VO</c:v>
                </c:pt>
                <c:pt idx="5">
                  <c:v>Kernen</c:v>
                </c:pt>
                <c:pt idx="6">
                  <c:v>Inwoners</c:v>
                </c:pt>
                <c:pt idx="7">
                  <c:v>Minderheden</c:v>
                </c:pt>
                <c:pt idx="8">
                  <c:v>Omgevingsadressendichtheid</c:v>
                </c:pt>
                <c:pt idx="9">
                  <c:v>Binnenwater</c:v>
                </c:pt>
                <c:pt idx="10">
                  <c:v>Overig</c:v>
                </c:pt>
              </c:strCache>
            </c:strRef>
          </c:cat>
          <c:val>
            <c:numRef>
              <c:f>Sheet1!$B$2:$B$12</c:f>
              <c:numCache>
                <c:formatCode>General</c:formatCode>
                <c:ptCount val="11"/>
                <c:pt idx="0">
                  <c:v>1.2247953432000001</c:v>
                </c:pt>
                <c:pt idx="1">
                  <c:v>0.29183141187200001</c:v>
                </c:pt>
                <c:pt idx="2">
                  <c:v>0.20283202783999998</c:v>
                </c:pt>
                <c:pt idx="3">
                  <c:v>0.17775991157600005</c:v>
                </c:pt>
                <c:pt idx="4">
                  <c:v>6.9793035936000003E-2</c:v>
                </c:pt>
                <c:pt idx="5">
                  <c:v>5.7028562239999997E-2</c:v>
                </c:pt>
                <c:pt idx="6">
                  <c:v>4.2002529920000004E-2</c:v>
                </c:pt>
                <c:pt idx="7">
                  <c:v>3.6242192999999999E-2</c:v>
                </c:pt>
                <c:pt idx="8">
                  <c:v>3.5157212284480002E-2</c:v>
                </c:pt>
                <c:pt idx="9">
                  <c:v>1.7469179520000003E-2</c:v>
                </c:pt>
                <c:pt idx="10">
                  <c:v>6.4431639999984469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3.8109999999999998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399580074338666</c:v>
                </c:pt>
                <c:pt idx="1">
                  <c:v>0.18397922744247999</c:v>
                </c:pt>
                <c:pt idx="2">
                  <c:v>0.1922923932994133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399580074338666</c:v>
                </c:pt>
                <c:pt idx="1">
                  <c:v>0.18397922744247999</c:v>
                </c:pt>
                <c:pt idx="2">
                  <c:v>0.1922923932994133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654838675999999</c:v>
                </c:pt>
                <c:pt idx="1">
                  <c:v>-3.1422758591800002</c:v>
                </c:pt>
                <c:pt idx="2">
                  <c:v>-2.947733785559999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654838675999999</c:v>
                </c:pt>
                <c:pt idx="1">
                  <c:v>-3.1422758591800002</c:v>
                </c:pt>
                <c:pt idx="2">
                  <c:v>-2.94773378555999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6477949813916553</c:v>
                </c:pt>
                <c:pt idx="1">
                  <c:v>7.3433075533838901</c:v>
                </c:pt>
                <c:pt idx="2">
                  <c:v>7.675117478223571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6477949813916553</c:v>
                </c:pt>
                <c:pt idx="1">
                  <c:v>7.3433075533838901</c:v>
                </c:pt>
                <c:pt idx="2">
                  <c:v>7.675117478223571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7.6751174782235712</c:v>
                </c:pt>
                <c:pt idx="2">
                  <c:v>9.3254849506443982</c:v>
                </c:pt>
                <c:pt idx="3">
                  <c:v>7.6641857101665263</c:v>
                </c:pt>
                <c:pt idx="4">
                  <c:v>8.9359595904557896</c:v>
                </c:pt>
                <c:pt idx="5">
                  <c:v>8.5620323906186755</c:v>
                </c:pt>
                <c:pt idx="7">
                  <c:v>8.6219156604713465</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2.4790822670570773</c:v>
                </c:pt>
                <c:pt idx="5">
                  <c:v>5.2621532600500016</c:v>
                </c:pt>
                <c:pt idx="7">
                  <c:v>1.9353088817767699</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7.6751174782235712</c:v>
                </c:pt>
                <c:pt idx="2">
                  <c:v>9.3254849506443982</c:v>
                </c:pt>
                <c:pt idx="3">
                  <c:v>7.6641857101665263</c:v>
                </c:pt>
                <c:pt idx="4">
                  <c:v>11.415041857512868</c:v>
                </c:pt>
                <c:pt idx="5">
                  <c:v>13.824185650668678</c:v>
                </c:pt>
                <c:pt idx="7">
                  <c:v>10.557224542248118</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3823827161398047</c:v>
                </c:pt>
                <c:pt idx="2">
                  <c:v>0.13823827161398047</c:v>
                </c:pt>
                <c:pt idx="3">
                  <c:v>0.17999164353246572</c:v>
                </c:pt>
                <c:pt idx="4">
                  <c:v>0.18397922744247996</c:v>
                </c:pt>
                <c:pt idx="6">
                  <c:v>0.18334813341309936</c:v>
                </c:pt>
                <c:pt idx="7">
                  <c:v>0.18334813341309936</c:v>
                </c:pt>
                <c:pt idx="8">
                  <c:v>0.18334813341309936</c:v>
                </c:pt>
                <c:pt idx="9">
                  <c:v>0.1922923932994133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399580074338666</c:v>
                </c:pt>
                <c:pt idx="5">
                  <c:v>0.18397922744247999</c:v>
                </c:pt>
                <c:pt idx="10">
                  <c:v>0.1922923932994133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1753371918485244E-2</c:v>
                </c:pt>
                <c:pt idx="3">
                  <c:v>3.9875839100142604E-3</c:v>
                </c:pt>
                <c:pt idx="8">
                  <c:v>8.944259886314013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7197358198861239E-3</c:v>
                </c:pt>
                <c:pt idx="6">
                  <c:v>6.3109402938064572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399580074338666</c:v>
                </c:pt>
                <c:pt idx="5">
                  <c:v>0.18397922744247999</c:v>
                </c:pt>
                <c:pt idx="10">
                  <c:v>0.1922923932994133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Eenouderhuishoudens</c:v>
                </c:pt>
                <c:pt idx="4">
                  <c:v>Huishoudens</c:v>
                </c:pt>
                <c:pt idx="5">
                  <c:v>Omgevingsadressendichtheid</c:v>
                </c:pt>
                <c:pt idx="6">
                  <c:v>Bijstandsontvangers</c:v>
                </c:pt>
                <c:pt idx="7">
                  <c:v>Minderheden</c:v>
                </c:pt>
                <c:pt idx="8">
                  <c:v>Klantenpotentieel lokaal</c:v>
                </c:pt>
                <c:pt idx="9">
                  <c:v>Uitkeringsontvangers</c:v>
                </c:pt>
                <c:pt idx="10">
                  <c:v>Overig</c:v>
                </c:pt>
              </c:strCache>
            </c:strRef>
          </c:cat>
          <c:val>
            <c:numRef>
              <c:f>Sheet1!$B$2:$B$12</c:f>
              <c:numCache>
                <c:formatCode>General</c:formatCode>
                <c:ptCount val="11"/>
                <c:pt idx="0">
                  <c:v>6.8752203000000012E-2</c:v>
                </c:pt>
                <c:pt idx="1">
                  <c:v>3.1098026960000007E-2</c:v>
                </c:pt>
                <c:pt idx="2">
                  <c:v>3.0770236432000001E-2</c:v>
                </c:pt>
                <c:pt idx="3">
                  <c:v>1.0794048720000001E-2</c:v>
                </c:pt>
                <c:pt idx="4">
                  <c:v>8.6943542400000004E-3</c:v>
                </c:pt>
                <c:pt idx="5">
                  <c:v>6.8839296780800006E-3</c:v>
                </c:pt>
                <c:pt idx="6">
                  <c:v>6.5426673866666599E-3</c:v>
                </c:pt>
                <c:pt idx="7">
                  <c:v>6.3564384000000008E-3</c:v>
                </c:pt>
                <c:pt idx="8">
                  <c:v>4.8722700000000006E-3</c:v>
                </c:pt>
                <c:pt idx="9">
                  <c:v>3.9117866666666572E-3</c:v>
                </c:pt>
                <c:pt idx="10">
                  <c:v>1.361643181599997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5185801835000001</c:v>
                </c:pt>
                <c:pt idx="1">
                  <c:v>4.7236745496999992</c:v>
                </c:pt>
                <c:pt idx="2">
                  <c:v>4.95445636919999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9607999999999993E-2</c:v>
                </c:pt>
                <c:pt idx="1">
                  <c:v>0.10785</c:v>
                </c:pt>
                <c:pt idx="2">
                  <c:v>0.10852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6081881835000003</c:v>
                </c:pt>
                <c:pt idx="1">
                  <c:v>4.8315245496999992</c:v>
                </c:pt>
                <c:pt idx="2">
                  <c:v>5.062983369199999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197.75111236529096</c:v>
                </c:pt>
                <c:pt idx="2">
                  <c:v>193.74112953568292</c:v>
                </c:pt>
                <c:pt idx="3">
                  <c:v>196.63966532911346</c:v>
                </c:pt>
                <c:pt idx="4">
                  <c:v>197.79686401989494</c:v>
                </c:pt>
                <c:pt idx="5">
                  <c:v>194.29836009365451</c:v>
                </c:pt>
                <c:pt idx="7">
                  <c:v>195.61900474458645</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4.3317234772890556</c:v>
                </c:pt>
                <c:pt idx="2">
                  <c:v>4.5203388475984978</c:v>
                </c:pt>
                <c:pt idx="3">
                  <c:v>4.2477064220183482</c:v>
                </c:pt>
                <c:pt idx="4">
                  <c:v>4.624483574666078</c:v>
                </c:pt>
                <c:pt idx="5">
                  <c:v>4.3119568236834791</c:v>
                </c:pt>
                <c:pt idx="7">
                  <c:v>4.4261214169916006</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202.08283584258001</c:v>
                </c:pt>
                <c:pt idx="2">
                  <c:v>198.2614683832814</c:v>
                </c:pt>
                <c:pt idx="3">
                  <c:v>200.88737175113181</c:v>
                </c:pt>
                <c:pt idx="4">
                  <c:v>202.42134759456101</c:v>
                </c:pt>
                <c:pt idx="5">
                  <c:v>198.610316917338</c:v>
                </c:pt>
                <c:pt idx="7">
                  <c:v>200.04512616157805</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6081881835000003</c:v>
                </c:pt>
                <c:pt idx="2">
                  <c:v>4.6694081182237497</c:v>
                </c:pt>
                <c:pt idx="3">
                  <c:v>4.6694081182237497</c:v>
                </c:pt>
                <c:pt idx="4">
                  <c:v>4.8132825496999994</c:v>
                </c:pt>
                <c:pt idx="6">
                  <c:v>4.8315245496999992</c:v>
                </c:pt>
                <c:pt idx="7">
                  <c:v>4.8317950771733269</c:v>
                </c:pt>
                <c:pt idx="8">
                  <c:v>4.8317950771733269</c:v>
                </c:pt>
                <c:pt idx="9">
                  <c:v>5.06230636919999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5185801835000001</c:v>
                </c:pt>
                <c:pt idx="5">
                  <c:v>4.7236745496999992</c:v>
                </c:pt>
                <c:pt idx="10">
                  <c:v>4.95445636919999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1219934723749425E-2</c:v>
                </c:pt>
                <c:pt idx="3">
                  <c:v>0.14387443147624968</c:v>
                </c:pt>
                <c:pt idx="6">
                  <c:v>2.7052747332738608E-4</c:v>
                </c:pt>
                <c:pt idx="8">
                  <c:v>0.2305112920266732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8.9607999999999993E-2</c:v>
                </c:pt>
                <c:pt idx="5">
                  <c:v>0.10785</c:v>
                </c:pt>
                <c:pt idx="10">
                  <c:v>0.108527</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8242000000000008E-2</c:v>
                </c:pt>
                <c:pt idx="9">
                  <c:v>6.7699999999999705E-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6081881835000003</c:v>
                </c:pt>
                <c:pt idx="5">
                  <c:v>4.8315245496999992</c:v>
                </c:pt>
                <c:pt idx="10">
                  <c:v>5.062983369199999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Hist.woningen in bewoonde oorden</c:v>
                </c:pt>
                <c:pt idx="4">
                  <c:v>Klantenpotentieel regionaal</c:v>
                </c:pt>
                <c:pt idx="5">
                  <c:v>Opp. historische kernen &lt;40 ha</c:v>
                </c:pt>
                <c:pt idx="6">
                  <c:v>Opp. historische kernen 40-64 ha</c:v>
                </c:pt>
                <c:pt idx="10">
                  <c:v>Overig</c:v>
                </c:pt>
              </c:strCache>
            </c:strRef>
          </c:cat>
          <c:val>
            <c:numRef>
              <c:f>Sheet1!$B$2:$B$12</c:f>
              <c:numCache>
                <c:formatCode>General</c:formatCode>
                <c:ptCount val="11"/>
                <c:pt idx="0">
                  <c:v>2.0924529568800003</c:v>
                </c:pt>
                <c:pt idx="1">
                  <c:v>1.3991982357600001</c:v>
                </c:pt>
                <c:pt idx="2">
                  <c:v>1.274286</c:v>
                </c:pt>
                <c:pt idx="3">
                  <c:v>0.10324502135999999</c:v>
                </c:pt>
                <c:pt idx="4">
                  <c:v>8.0999776000000009E-2</c:v>
                </c:pt>
                <c:pt idx="5">
                  <c:v>4.2743792000000001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7.73834258504499</c:v>
                </c:pt>
                <c:pt idx="1">
                  <c:v>-125.42012689311089</c:v>
                </c:pt>
                <c:pt idx="2">
                  <c:v>-117.655216155504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7.73834258504499</c:v>
                </c:pt>
                <c:pt idx="1">
                  <c:v>-125.42012689311089</c:v>
                </c:pt>
                <c:pt idx="2">
                  <c:v>-117.6552161555041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08527</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3336318652126522</c:v>
                </c:pt>
                <c:pt idx="1">
                  <c:v>6.5845431872750009</c:v>
                </c:pt>
                <c:pt idx="2">
                  <c:v>6.915698321967310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9886999999999999E-2</c:v>
                </c:pt>
                <c:pt idx="1">
                  <c:v>3.9886999999999999E-2</c:v>
                </c:pt>
                <c:pt idx="2">
                  <c:v>3.9886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3735188652126524</c:v>
                </c:pt>
                <c:pt idx="1">
                  <c:v>6.6244301872750011</c:v>
                </c:pt>
                <c:pt idx="2">
                  <c:v>6.955585321967310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5.5841921315787</c:v>
                </c:pt>
                <c:pt idx="1">
                  <c:v>262.81404914484716</c:v>
                </c:pt>
                <c:pt idx="2">
                  <c:v>276.0317043971944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6095799201000767</c:v>
                </c:pt>
                <c:pt idx="1">
                  <c:v>1.5920411910273808</c:v>
                </c:pt>
                <c:pt idx="2">
                  <c:v>1.592041191027380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7.19377205167882</c:v>
                </c:pt>
                <c:pt idx="1">
                  <c:v>264.40609033587452</c:v>
                </c:pt>
                <c:pt idx="2">
                  <c:v>277.6237455882218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276.03170439719446</c:v>
                </c:pt>
                <c:pt idx="2">
                  <c:v>246.6068786362072</c:v>
                </c:pt>
                <c:pt idx="3">
                  <c:v>210.58627433221395</c:v>
                </c:pt>
                <c:pt idx="4">
                  <c:v>236.91791732678681</c:v>
                </c:pt>
                <c:pt idx="5">
                  <c:v>361.50083917686788</c:v>
                </c:pt>
                <c:pt idx="7">
                  <c:v>263.90297736801892</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1.5920411910273808</c:v>
                </c:pt>
                <c:pt idx="2">
                  <c:v>5.9282745944218016</c:v>
                </c:pt>
                <c:pt idx="3">
                  <c:v>5.9826529385841916</c:v>
                </c:pt>
                <c:pt idx="4">
                  <c:v>7.3946492318799883</c:v>
                </c:pt>
                <c:pt idx="5">
                  <c:v>5.1347275685543075</c:v>
                </c:pt>
                <c:pt idx="7">
                  <c:v>6.110076083360072</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277.62374558822188</c:v>
                </c:pt>
                <c:pt idx="2">
                  <c:v>252.53515323062902</c:v>
                </c:pt>
                <c:pt idx="3">
                  <c:v>216.56892727079818</c:v>
                </c:pt>
                <c:pt idx="4">
                  <c:v>244.31256655866679</c:v>
                </c:pt>
                <c:pt idx="5">
                  <c:v>366.63556674542218</c:v>
                </c:pt>
                <c:pt idx="7">
                  <c:v>270.01305345137905</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6.3735188652126524</c:v>
                </c:pt>
                <c:pt idx="2">
                  <c:v>6.4234700476940647</c:v>
                </c:pt>
                <c:pt idx="3">
                  <c:v>6.4234700476940647</c:v>
                </c:pt>
                <c:pt idx="4">
                  <c:v>6.6244301872750011</c:v>
                </c:pt>
                <c:pt idx="6">
                  <c:v>6.6244301872750011</c:v>
                </c:pt>
                <c:pt idx="7">
                  <c:v>6.6340159009396151</c:v>
                </c:pt>
                <c:pt idx="8">
                  <c:v>6.6340159009396151</c:v>
                </c:pt>
                <c:pt idx="9">
                  <c:v>6.955585321967310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6.3336318652126522</c:v>
                </c:pt>
                <c:pt idx="5">
                  <c:v>6.5845431872750009</c:v>
                </c:pt>
                <c:pt idx="10">
                  <c:v>6.915698321967310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5.2609615887169101E-2</c:v>
                </c:pt>
                <c:pt idx="3">
                  <c:v>0.20096013958093609</c:v>
                </c:pt>
                <c:pt idx="6">
                  <c:v>3.3173878717230654E-2</c:v>
                </c:pt>
                <c:pt idx="8">
                  <c:v>0.3215694210276955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6584334057565243E-3</c:v>
                </c:pt>
                <c:pt idx="7">
                  <c:v>2.3588165052616551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9886999999999999E-2</c:v>
                </c:pt>
                <c:pt idx="5">
                  <c:v>3.9886999999999999E-2</c:v>
                </c:pt>
                <c:pt idx="10">
                  <c:v>3.9886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6.3735188652126524</c:v>
                </c:pt>
                <c:pt idx="5">
                  <c:v>6.6244301872750011</c:v>
                </c:pt>
                <c:pt idx="10">
                  <c:v>6.955585321967310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pp. bebouwing kern *bodemfactor kern</c:v>
                </c:pt>
                <c:pt idx="2">
                  <c:v>Land</c:v>
                </c:pt>
                <c:pt idx="3">
                  <c:v>Inwoners</c:v>
                </c:pt>
                <c:pt idx="4">
                  <c:v>Land * bodemfactor gemeente</c:v>
                </c:pt>
                <c:pt idx="5">
                  <c:v>Woonruimten * bodemfactor kern</c:v>
                </c:pt>
                <c:pt idx="6">
                  <c:v>Oppervlak bebouwing woonkernen</c:v>
                </c:pt>
                <c:pt idx="7">
                  <c:v>Omgevingsadressendichtheid</c:v>
                </c:pt>
                <c:pt idx="8">
                  <c:v>Oppervlak bebouwing buitengebied</c:v>
                </c:pt>
                <c:pt idx="9">
                  <c:v>Bedrijfsvestigingen</c:v>
                </c:pt>
                <c:pt idx="10">
                  <c:v>Overig</c:v>
                </c:pt>
              </c:strCache>
            </c:strRef>
          </c:cat>
          <c:val>
            <c:numRef>
              <c:f>Sheet1!$B$2:$B$12</c:f>
              <c:numCache>
                <c:formatCode>General</c:formatCode>
                <c:ptCount val="11"/>
                <c:pt idx="0">
                  <c:v>0.95140975072000011</c:v>
                </c:pt>
                <c:pt idx="1">
                  <c:v>0.72198798486359994</c:v>
                </c:pt>
                <c:pt idx="2">
                  <c:v>0.66398563712000014</c:v>
                </c:pt>
                <c:pt idx="3">
                  <c:v>0.6591166233600001</c:v>
                </c:pt>
                <c:pt idx="4">
                  <c:v>0.63421017878399999</c:v>
                </c:pt>
                <c:pt idx="5">
                  <c:v>0.59664866856400001</c:v>
                </c:pt>
                <c:pt idx="6">
                  <c:v>0.48988628416000002</c:v>
                </c:pt>
                <c:pt idx="7">
                  <c:v>0.4800311677304</c:v>
                </c:pt>
                <c:pt idx="8">
                  <c:v>0.26333462740000002</c:v>
                </c:pt>
                <c:pt idx="9">
                  <c:v>0.25666970056000005</c:v>
                </c:pt>
                <c:pt idx="10">
                  <c:v>1.1984176987053106</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3.9886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82995533975091074</c:v>
                </c:pt>
                <c:pt idx="1">
                  <c:v>-0.86328755910789257</c:v>
                </c:pt>
                <c:pt idx="2">
                  <c:v>-0.91198289325315551</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82995533975091074</c:v>
                </c:pt>
                <c:pt idx="1">
                  <c:v>-0.86328755910789257</c:v>
                </c:pt>
                <c:pt idx="2">
                  <c:v>-0.91198289325315551</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3.491600006089776</c:v>
                </c:pt>
                <c:pt idx="1">
                  <c:v>-34.457075082138282</c:v>
                </c:pt>
                <c:pt idx="2">
                  <c:v>-36.400690239209531</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3.491600006089776</c:v>
                </c:pt>
                <c:pt idx="1">
                  <c:v>-34.457075082138282</c:v>
                </c:pt>
                <c:pt idx="2">
                  <c:v>-36.400690239209531</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36.400690239209531</c:v>
                </c:pt>
                <c:pt idx="2">
                  <c:v>-24.802957395831772</c:v>
                </c:pt>
                <c:pt idx="3">
                  <c:v>-40.478575143112941</c:v>
                </c:pt>
                <c:pt idx="4">
                  <c:v>-39.362839103710833</c:v>
                </c:pt>
                <c:pt idx="5">
                  <c:v>-44.438448523014699</c:v>
                </c:pt>
                <c:pt idx="7">
                  <c:v>-37.270705041417564</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36.400690239209531</c:v>
                </c:pt>
                <c:pt idx="2">
                  <c:v>-24.802957395831772</c:v>
                </c:pt>
                <c:pt idx="3">
                  <c:v>-40.478575143112941</c:v>
                </c:pt>
                <c:pt idx="4">
                  <c:v>-39.362839103710833</c:v>
                </c:pt>
                <c:pt idx="5">
                  <c:v>-44.438448523014699</c:v>
                </c:pt>
                <c:pt idx="7">
                  <c:v>-37.270705041417564</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117.65521615550411</c:v>
                </c:pt>
                <c:pt idx="2">
                  <c:v>-126.99946567409893</c:v>
                </c:pt>
                <c:pt idx="3">
                  <c:v>-114.98158961580064</c:v>
                </c:pt>
                <c:pt idx="4">
                  <c:v>-130.0960116385223</c:v>
                </c:pt>
                <c:pt idx="5">
                  <c:v>-111.25422471526647</c:v>
                </c:pt>
                <c:pt idx="7">
                  <c:v>-120.83282291092209</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117.65521615550411</c:v>
                </c:pt>
                <c:pt idx="2">
                  <c:v>-126.99946567409893</c:v>
                </c:pt>
                <c:pt idx="3">
                  <c:v>-114.98158961580064</c:v>
                </c:pt>
                <c:pt idx="4">
                  <c:v>-130.0960116385223</c:v>
                </c:pt>
                <c:pt idx="5">
                  <c:v>-111.25422471526647</c:v>
                </c:pt>
                <c:pt idx="7">
                  <c:v>-120.83282291092209</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83693484261366402</c:v>
                </c:pt>
                <c:pt idx="2">
                  <c:v>-0.83693484261366402</c:v>
                </c:pt>
                <c:pt idx="3">
                  <c:v>-0.86328755910789257</c:v>
                </c:pt>
                <c:pt idx="4">
                  <c:v>-0.86328755910789257</c:v>
                </c:pt>
                <c:pt idx="6">
                  <c:v>-0.86959149950579495</c:v>
                </c:pt>
                <c:pt idx="7">
                  <c:v>-0.86959149950579495</c:v>
                </c:pt>
                <c:pt idx="8">
                  <c:v>-0.91198289325315551</c:v>
                </c:pt>
                <c:pt idx="9">
                  <c:v>-0.9119828932531555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82995533975091074</c:v>
                </c:pt>
                <c:pt idx="5">
                  <c:v>-0.86328755910789257</c:v>
                </c:pt>
                <c:pt idx="10">
                  <c:v>-0.9119828932531555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9795028627532381E-3</c:v>
                </c:pt>
                <c:pt idx="3">
                  <c:v>2.635271649422859E-2</c:v>
                </c:pt>
                <c:pt idx="6">
                  <c:v>6.3039403979024125E-3</c:v>
                </c:pt>
                <c:pt idx="8">
                  <c:v>4.2391393747360541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82995533975091074</c:v>
                </c:pt>
                <c:pt idx="5">
                  <c:v>-0.86328755910789257</c:v>
                </c:pt>
                <c:pt idx="10">
                  <c:v>-0.9119828932531555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Land</c:v>
                </c:pt>
                <c:pt idx="4">
                  <c:v>Omgevingsadressendichtheid</c:v>
                </c:pt>
                <c:pt idx="5">
                  <c:v>Land * bodemfactor gemeente</c:v>
                </c:pt>
                <c:pt idx="6">
                  <c:v>Oeverlengte * bodemfactor gemeente</c:v>
                </c:pt>
                <c:pt idx="7">
                  <c:v>Oeverlengte *dichtheid *bodemf. gem.</c:v>
                </c:pt>
                <c:pt idx="10">
                  <c:v>Overig</c:v>
                </c:pt>
              </c:strCache>
            </c:strRef>
          </c:cat>
          <c:val>
            <c:numRef>
              <c:f>Sheet1!$B$2:$B$12</c:f>
              <c:numCache>
                <c:formatCode>General</c:formatCode>
                <c:ptCount val="11"/>
                <c:pt idx="0">
                  <c:v>-1.0860849677600002</c:v>
                </c:pt>
                <c:pt idx="1">
                  <c:v>0.34592631981440003</c:v>
                </c:pt>
                <c:pt idx="2">
                  <c:v>-0.22091715256000002</c:v>
                </c:pt>
                <c:pt idx="3">
                  <c:v>-7.0129350720000011E-2</c:v>
                </c:pt>
                <c:pt idx="4">
                  <c:v>3.7124049335360003E-2</c:v>
                </c:pt>
                <c:pt idx="5">
                  <c:v>3.2479098288000004E-2</c:v>
                </c:pt>
                <c:pt idx="6">
                  <c:v>2.5595514125999998E-2</c:v>
                </c:pt>
                <c:pt idx="7">
                  <c:v>2.40235962230845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135386479188001</c:v>
                </c:pt>
                <c:pt idx="1">
                  <c:v>1.9876657437539196</c:v>
                </c:pt>
                <c:pt idx="2">
                  <c:v>2.09740936096432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135386479188001</c:v>
                </c:pt>
                <c:pt idx="1">
                  <c:v>1.9876657437539196</c:v>
                </c:pt>
                <c:pt idx="2">
                  <c:v>2.09740936096432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7.217975381090355</c:v>
                </c:pt>
                <c:pt idx="1">
                  <c:v>79.335265576511517</c:v>
                </c:pt>
                <c:pt idx="2">
                  <c:v>83.71554885305022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7.217975381090355</c:v>
                </c:pt>
                <c:pt idx="1">
                  <c:v>79.335265576511517</c:v>
                </c:pt>
                <c:pt idx="2">
                  <c:v>83.71554885305022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83.715548853050223</c:v>
                </c:pt>
                <c:pt idx="2">
                  <c:v>84.62633346458243</c:v>
                </c:pt>
                <c:pt idx="3">
                  <c:v>76.875465546380369</c:v>
                </c:pt>
                <c:pt idx="4">
                  <c:v>88.052910327916251</c:v>
                </c:pt>
                <c:pt idx="5">
                  <c:v>104.40535885363705</c:v>
                </c:pt>
                <c:pt idx="7">
                  <c:v>88.490017048129019</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83.715548853050223</c:v>
                </c:pt>
                <c:pt idx="2">
                  <c:v>84.62633346458243</c:v>
                </c:pt>
                <c:pt idx="3">
                  <c:v>76.875465546380369</c:v>
                </c:pt>
                <c:pt idx="4">
                  <c:v>88.052910327916251</c:v>
                </c:pt>
                <c:pt idx="5">
                  <c:v>104.40535885363705</c:v>
                </c:pt>
                <c:pt idx="7">
                  <c:v>88.490017048129019</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135386479188001</c:v>
                </c:pt>
                <c:pt idx="2">
                  <c:v>1.9269610425546577</c:v>
                </c:pt>
                <c:pt idx="3">
                  <c:v>1.9269610425546577</c:v>
                </c:pt>
                <c:pt idx="4">
                  <c:v>1.9876657437539196</c:v>
                </c:pt>
                <c:pt idx="6">
                  <c:v>1.9876657437539196</c:v>
                </c:pt>
                <c:pt idx="7">
                  <c:v>1.9998912766886261</c:v>
                </c:pt>
                <c:pt idx="8">
                  <c:v>1.9998912766886261</c:v>
                </c:pt>
                <c:pt idx="9">
                  <c:v>2.09740936096432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135386479188001</c:v>
                </c:pt>
                <c:pt idx="5">
                  <c:v>1.9876657437539196</c:v>
                </c:pt>
                <c:pt idx="10">
                  <c:v>2.09740936096432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3422394635857629E-2</c:v>
                </c:pt>
                <c:pt idx="3">
                  <c:v>6.0704701199261829E-2</c:v>
                </c:pt>
                <c:pt idx="6">
                  <c:v>1.2225532934706409E-2</c:v>
                </c:pt>
                <c:pt idx="8">
                  <c:v>9.751808427569407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9135386479188001</c:v>
                </c:pt>
                <c:pt idx="5">
                  <c:v>1.9876657437539196</c:v>
                </c:pt>
                <c:pt idx="10">
                  <c:v>2.09740936096432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Woz waarde niet woningen (in mln)</c:v>
                </c:pt>
                <c:pt idx="3">
                  <c:v>Omgevingsadressendichtheid</c:v>
                </c:pt>
                <c:pt idx="4">
                  <c:v>Land</c:v>
                </c:pt>
                <c:pt idx="5">
                  <c:v>Huishoudens laag inkomen (drempel)</c:v>
                </c:pt>
                <c:pt idx="6">
                  <c:v>Opp. bebouwing totaal</c:v>
                </c:pt>
                <c:pt idx="7">
                  <c:v>Minderheden</c:v>
                </c:pt>
                <c:pt idx="8">
                  <c:v>Kernen</c:v>
                </c:pt>
                <c:pt idx="9">
                  <c:v>Klantenpotentieel lokaal</c:v>
                </c:pt>
                <c:pt idx="10">
                  <c:v>Overig</c:v>
                </c:pt>
              </c:strCache>
            </c:strRef>
          </c:cat>
          <c:val>
            <c:numRef>
              <c:f>Sheet1!$B$2:$B$12</c:f>
              <c:numCache>
                <c:formatCode>General</c:formatCode>
                <c:ptCount val="11"/>
                <c:pt idx="0">
                  <c:v>0.99874187504</c:v>
                </c:pt>
                <c:pt idx="1">
                  <c:v>0.35798264320000006</c:v>
                </c:pt>
                <c:pt idx="2">
                  <c:v>0.20446327028400002</c:v>
                </c:pt>
                <c:pt idx="3">
                  <c:v>0.16275576596032001</c:v>
                </c:pt>
                <c:pt idx="4">
                  <c:v>0.11310423904</c:v>
                </c:pt>
                <c:pt idx="5">
                  <c:v>5.8386736719999999E-2</c:v>
                </c:pt>
                <c:pt idx="6">
                  <c:v>4.5244068480000003E-2</c:v>
                </c:pt>
                <c:pt idx="7">
                  <c:v>4.3340715600000003E-2</c:v>
                </c:pt>
                <c:pt idx="8">
                  <c:v>4.0537802240000004E-2</c:v>
                </c:pt>
                <c:pt idx="9">
                  <c:v>2.5110930000000004E-2</c:v>
                </c:pt>
                <c:pt idx="10">
                  <c:v>4.774131440000006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6812061971360004</c:v>
                </c:pt>
                <c:pt idx="1">
                  <c:v>2.8026414610536499</c:v>
                </c:pt>
                <c:pt idx="2">
                  <c:v>2.94397297429040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6812061971360004</c:v>
                </c:pt>
                <c:pt idx="1">
                  <c:v>2.8026414610536499</c:v>
                </c:pt>
                <c:pt idx="2">
                  <c:v>2.9439729742904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8.19604524175782</c:v>
                </c:pt>
                <c:pt idx="1">
                  <c:v>111.86403213273928</c:v>
                </c:pt>
                <c:pt idx="2">
                  <c:v>117.505107938468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8.19604524175782</c:v>
                </c:pt>
                <c:pt idx="1">
                  <c:v>111.86403213273928</c:v>
                </c:pt>
                <c:pt idx="2">
                  <c:v>117.5051079384689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1654838675999999</c:v>
                </c:pt>
                <c:pt idx="2">
                  <c:v>-3.176349811522909</c:v>
                </c:pt>
                <c:pt idx="3">
                  <c:v>-3.176349811522909</c:v>
                </c:pt>
                <c:pt idx="4">
                  <c:v>-3.1422758591800002</c:v>
                </c:pt>
                <c:pt idx="6">
                  <c:v>-3.1557868017187354</c:v>
                </c:pt>
                <c:pt idx="7">
                  <c:v>-3.1557868017187354</c:v>
                </c:pt>
                <c:pt idx="8">
                  <c:v>-2.9477337855599992</c:v>
                </c:pt>
                <c:pt idx="9">
                  <c:v>-2.947733785559999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1654838675999999</c:v>
                </c:pt>
                <c:pt idx="5">
                  <c:v>-3.1422758591800002</c:v>
                </c:pt>
                <c:pt idx="10">
                  <c:v>-2.947733785559999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8726465094956367E-2</c:v>
                </c:pt>
                <c:pt idx="3">
                  <c:v>3.4073952342908803E-2</c:v>
                </c:pt>
                <c:pt idx="7">
                  <c:v>0.7071221464102589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9592409017865466E-2</c:v>
                </c:pt>
                <c:pt idx="6">
                  <c:v>1.3510942538735369E-2</c:v>
                </c:pt>
                <c:pt idx="8">
                  <c:v>0.4990691302515230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1654838675999999</c:v>
                </c:pt>
                <c:pt idx="5">
                  <c:v>-3.1422758591800002</c:v>
                </c:pt>
                <c:pt idx="10">
                  <c:v>-2.94773378555999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C$2:$C$10</c:f>
              <c:numCache>
                <c:formatCode>General</c:formatCode>
                <c:ptCount val="9"/>
                <c:pt idx="0">
                  <c:v>117.50510793846892</c:v>
                </c:pt>
                <c:pt idx="2">
                  <c:v>118.95814465459124</c:v>
                </c:pt>
                <c:pt idx="3">
                  <c:v>116.46097329249631</c:v>
                </c:pt>
                <c:pt idx="4">
                  <c:v>116.91142889140427</c:v>
                </c:pt>
                <c:pt idx="5">
                  <c:v>121.2729854159292</c:v>
                </c:pt>
                <c:pt idx="7">
                  <c:v>118.40088306360526</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D$2:$D$10</c:f>
              <c:numCache>
                <c:formatCode>General</c:formatCode>
                <c:ptCount val="9"/>
                <c:pt idx="0">
                  <c:v>0</c:v>
                </c:pt>
                <c:pt idx="2">
                  <c:v>0</c:v>
                </c:pt>
                <c:pt idx="3">
                  <c:v>0</c:v>
                </c:pt>
                <c:pt idx="4">
                  <c:v>0</c:v>
                </c:pt>
                <c:pt idx="5">
                  <c:v>108.42485812929084</c:v>
                </c:pt>
                <c:pt idx="7">
                  <c:v>27.10621453232271</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teenbergen</c:v>
                </c:pt>
                <c:pt idx="2">
                  <c:v>Sliedrecht</c:v>
                </c:pt>
                <c:pt idx="3">
                  <c:v>Stein</c:v>
                </c:pt>
                <c:pt idx="4">
                  <c:v>Cuijk</c:v>
                </c:pt>
                <c:pt idx="5">
                  <c:v>Westerwolde</c:v>
                </c:pt>
                <c:pt idx="7">
                  <c:v>4 gemeenten</c:v>
                </c:pt>
                <c:pt idx="8">
                  <c:v>Landelijk</c:v>
                </c:pt>
              </c:strCache>
            </c:strRef>
          </c:cat>
          <c:val>
            <c:numRef>
              <c:f>Sheet1!$B$2:$B$10</c:f>
              <c:numCache>
                <c:formatCode>General</c:formatCode>
                <c:ptCount val="9"/>
                <c:pt idx="0">
                  <c:v>117.50510793846892</c:v>
                </c:pt>
                <c:pt idx="2">
                  <c:v>118.95814465459124</c:v>
                </c:pt>
                <c:pt idx="3">
                  <c:v>116.46097329249631</c:v>
                </c:pt>
                <c:pt idx="4">
                  <c:v>116.91142889140427</c:v>
                </c:pt>
                <c:pt idx="5">
                  <c:v>229.69784354522005</c:v>
                </c:pt>
                <c:pt idx="7">
                  <c:v>145.50709759592797</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6812061971360004</c:v>
                </c:pt>
                <c:pt idx="2">
                  <c:v>2.7063715427126316</c:v>
                </c:pt>
                <c:pt idx="3">
                  <c:v>2.7171903415745859</c:v>
                </c:pt>
                <c:pt idx="4">
                  <c:v>2.8026414610536499</c:v>
                </c:pt>
                <c:pt idx="6">
                  <c:v>2.8026414610536499</c:v>
                </c:pt>
                <c:pt idx="7">
                  <c:v>2.8070081003557443</c:v>
                </c:pt>
                <c:pt idx="8">
                  <c:v>2.8070081003557443</c:v>
                </c:pt>
                <c:pt idx="9">
                  <c:v>2.94397297429040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6812061971360004</c:v>
                </c:pt>
                <c:pt idx="5">
                  <c:v>2.8026414610536499</c:v>
                </c:pt>
                <c:pt idx="10">
                  <c:v>2.94397297429040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5165345576631304E-2</c:v>
                </c:pt>
                <c:pt idx="2">
                  <c:v>1.0818798861954344E-2</c:v>
                </c:pt>
                <c:pt idx="3">
                  <c:v>8.5451119479063808E-2</c:v>
                </c:pt>
                <c:pt idx="6">
                  <c:v>5.5236209202367513E-3</c:v>
                </c:pt>
                <c:pt idx="8">
                  <c:v>0.1369648739346560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1.1569816181423121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6812061971360004</c:v>
                </c:pt>
                <c:pt idx="5">
                  <c:v>2.8026414610536499</c:v>
                </c:pt>
                <c:pt idx="10">
                  <c:v>2.9439729742904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Bewoonde oorden 1930</c:v>
                </c:pt>
                <c:pt idx="5">
                  <c:v>Bedrijfsvestigingen</c:v>
                </c:pt>
                <c:pt idx="6">
                  <c:v>Klantenpotentieel regionaal</c:v>
                </c:pt>
                <c:pt idx="7">
                  <c:v>Land</c:v>
                </c:pt>
                <c:pt idx="8">
                  <c:v>Minderheden</c:v>
                </c:pt>
                <c:pt idx="9">
                  <c:v>Minderheden (drempel)</c:v>
                </c:pt>
                <c:pt idx="10">
                  <c:v>Overig</c:v>
                </c:pt>
              </c:strCache>
            </c:strRef>
          </c:cat>
          <c:val>
            <c:numRef>
              <c:f>Sheet1!$B$2:$B$12</c:f>
              <c:numCache>
                <c:formatCode>General</c:formatCode>
                <c:ptCount val="11"/>
                <c:pt idx="0">
                  <c:v>2.0609510594400002</c:v>
                </c:pt>
                <c:pt idx="1">
                  <c:v>0.56355874640000003</c:v>
                </c:pt>
                <c:pt idx="2">
                  <c:v>0.28248488112000003</c:v>
                </c:pt>
                <c:pt idx="3">
                  <c:v>-4.2409923909600002E-2</c:v>
                </c:pt>
                <c:pt idx="4">
                  <c:v>3.7362549120000005E-2</c:v>
                </c:pt>
                <c:pt idx="5">
                  <c:v>2.6581605959999997E-2</c:v>
                </c:pt>
                <c:pt idx="6">
                  <c:v>-2.41158424E-2</c:v>
                </c:pt>
                <c:pt idx="7">
                  <c:v>2.384870176E-2</c:v>
                </c:pt>
                <c:pt idx="8">
                  <c:v>1.5711196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OZB (niet-woningen eigenaar)</c:v>
                </c:pt>
                <c:pt idx="2">
                  <c:v>Woonruimten</c:v>
                </c:pt>
                <c:pt idx="3">
                  <c:v>OZB (niet-woningen gebruiker)</c:v>
                </c:pt>
                <c:pt idx="4">
                  <c:v>Vast bedrag voor iedere gemeente</c:v>
                </c:pt>
                <c:pt idx="10">
                  <c:v>Overig</c:v>
                </c:pt>
              </c:strCache>
            </c:strRef>
          </c:cat>
          <c:val>
            <c:numRef>
              <c:f>Sheet1!$B$2:$B$12</c:f>
              <c:numCache>
                <c:formatCode>General</c:formatCode>
                <c:ptCount val="11"/>
                <c:pt idx="0">
                  <c:v>-1.6391183999999999</c:v>
                </c:pt>
                <c:pt idx="1">
                  <c:v>-0.47685085700000002</c:v>
                </c:pt>
                <c:pt idx="2">
                  <c:v>-0.45527374256000003</c:v>
                </c:pt>
                <c:pt idx="3">
                  <c:v>-0.43285436600000005</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888968554578657</c:v>
                </c:pt>
                <c:pt idx="1">
                  <c:v>2.6287743655663203</c:v>
                </c:pt>
                <c:pt idx="2">
                  <c:v>2.677363257709918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8578000000000004E-2</c:v>
                </c:pt>
                <c:pt idx="1">
                  <c:v>2.7652709999999998</c:v>
                </c:pt>
                <c:pt idx="2">
                  <c:v>2.708858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774748554578657</c:v>
                </c:pt>
                <c:pt idx="1">
                  <c:v>5.3940453655663205</c:v>
                </c:pt>
                <c:pt idx="2">
                  <c:v>5.386222257709918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36.327400339555005</cx:pt>
          <cx:pt idx="1">-2.9477337855599997</cx:pt>
          <cx:pt idx="2">33.379666553995008</cx:pt>
          <cx:pt idx="3">4.2388330000000067</cx:pt>
          <cx:pt idx="4">37.618499553995015</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Steenbergen</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teenbergen is ca. 38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40303878"/>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teenbergen</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7,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3,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9</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6,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teenbergen is ca. 38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4269928857"/>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888206065"/>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3363516045"/>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teenbergen</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70220531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3,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teenbergen is ca. 38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teenbergen</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84214578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4,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6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4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0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3,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Steenbergen ca. 1.501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teenbergen</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561816235"/>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Steenberg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0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7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7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278 euro mind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teenbergen</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45791361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63334033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91553725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84232162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1398205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8512844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17754982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31905140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131543319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3056458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04913054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29210420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0536393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64008630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2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54547493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71646312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44529596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78186839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97042692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0885437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26709510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2330518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31751126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11306990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12793757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85202413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466599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16214559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82554950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9117723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23764889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44241381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84416004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27220704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77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16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16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91 mind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57095139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28995230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10307460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1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6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3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5607477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3675679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58927348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04521960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97360583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72543384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30932278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31577017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97217368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9703337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38921082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0040056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36045694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5193305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80112008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55150427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50956569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24476468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3687140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4.77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16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16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7323835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33325104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33866383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1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6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39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47898960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22274902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xtra groei 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340985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71120466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9085314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0033031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95245407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86304754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56149780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1547037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9662722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19038336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17473822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21876265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68693184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87783344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87687652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58060170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17309834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7790052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79118559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4267612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3508049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ist.woningen in bewoonde oor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40-64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98052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10023134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3573463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07060976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37147590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36831521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2370051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5599644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47673907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65896345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05774157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buitengebie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71068562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02977287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55092279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10666793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258493412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119105880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00508213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2494889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282824077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81891359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43198424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79569724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47499291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69076913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6362722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27899264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40745136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92046444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Steenbergen,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2377812836"/>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7,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0471757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08989864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86445974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14182258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86980388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26340136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98567169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63012126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4.78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5.054</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8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93537141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8649875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614789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0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6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93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19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1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68653916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21015552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7993138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16658605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94311289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teenbergen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904346339"/>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3,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7,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Steenbergen is ca. 38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teenbergen</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19699784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6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4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0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84</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Steenbergen ca. 1.501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teenbergen</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603224816"/>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Steenberg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5.054</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Sliedrecht</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02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Stei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96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Cuijk</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931</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Westerwold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5.199</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632309678"/>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Steenberg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0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77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7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6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278 mind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teenbergen</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1056987263"/>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1612493017"/>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7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05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05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Steenbergen,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706</Words>
  <Application>Microsoft Office PowerPoint</Application>
  <PresentationFormat>Widescreen</PresentationFormat>
  <Paragraphs>2186</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Steenbergen is ca. 38 mln (1/3)</vt:lpstr>
      <vt:lpstr>Totale uitkering voor Steenbergen is ca. 38 mln (2/3)</vt:lpstr>
      <vt:lpstr>Totale uitkering voor Steenbergen is ca. 38 mln (3/3)</vt:lpstr>
      <vt:lpstr>Per inwoner ontvangt Steenbergen ca. 1.501 euro</vt:lpstr>
      <vt:lpstr>Dit is ca. 278 euro mind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Steenbergen is ca. 38 mln</vt:lpstr>
      <vt:lpstr>Per inwoner ontvangt Steenbergen ca. 1.501 euro</vt:lpstr>
      <vt:lpstr>Dit is ca. €278 mind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09:43:34Z</dcterms:modified>
</cp:coreProperties>
</file>